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7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24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676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12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683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47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953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16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853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785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617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218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936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CCCC30-9E16-4D6D-B727-B2411C02FDDF}" type="datetimeFigureOut">
              <a:rPr lang="en-US" smtClean="0"/>
              <a:t>3/1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C4B187-86C6-4E94-AFF6-E75F93512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81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04800" y="152401"/>
            <a:ext cx="8382000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Kernel </a:t>
            </a:r>
            <a:r>
              <a:rPr lang="en-US" b="1" dirty="0" smtClean="0"/>
              <a:t>Initialization:</a:t>
            </a:r>
          </a:p>
          <a:p>
            <a:r>
              <a:rPr lang="en-US" dirty="0" smtClean="0"/>
              <a:t>Kernel acts as a layer between software and hardware.</a:t>
            </a:r>
          </a:p>
          <a:p>
            <a:r>
              <a:rPr lang="en-US" dirty="0" smtClean="0"/>
              <a:t>    </a:t>
            </a:r>
          </a:p>
          <a:p>
            <a:r>
              <a:rPr lang="en-US" dirty="0" smtClean="0"/>
              <a:t>  1. Initialize kernel</a:t>
            </a:r>
          </a:p>
          <a:p>
            <a:r>
              <a:rPr lang="en-US" dirty="0"/>
              <a:t> </a:t>
            </a:r>
            <a:r>
              <a:rPr lang="en-US" dirty="0" smtClean="0"/>
              <a:t>     2. Initialize hal.dll</a:t>
            </a:r>
          </a:p>
          <a:p>
            <a:r>
              <a:rPr lang="en-US" dirty="0"/>
              <a:t> </a:t>
            </a:r>
            <a:r>
              <a:rPr lang="en-US" dirty="0" smtClean="0"/>
              <a:t>     3. Start the Debugger</a:t>
            </a:r>
          </a:p>
          <a:p>
            <a:r>
              <a:rPr lang="en-US" dirty="0"/>
              <a:t> </a:t>
            </a:r>
            <a:r>
              <a:rPr lang="en-US" dirty="0" smtClean="0"/>
              <a:t>     4. Initialize routines for executives services</a:t>
            </a:r>
          </a:p>
          <a:p>
            <a:endParaRPr lang="en-US" b="1" dirty="0" smtClean="0"/>
          </a:p>
          <a:p>
            <a:endParaRPr lang="en-US" b="1" dirty="0"/>
          </a:p>
          <a:p>
            <a:r>
              <a:rPr lang="en-US" dirty="0"/>
              <a:t> After executing the functions of boot files the control </a:t>
            </a:r>
            <a:endParaRPr lang="en-US" dirty="0" smtClean="0"/>
          </a:p>
          <a:p>
            <a:r>
              <a:rPr lang="en-US" dirty="0" smtClean="0"/>
              <a:t>is </a:t>
            </a:r>
            <a:r>
              <a:rPr lang="en-US" dirty="0"/>
              <a:t>passed to Kernel.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ntoskrnal.exe is the kernel file in a Windows machine. </a:t>
            </a:r>
          </a:p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library file hal.dll </a:t>
            </a:r>
            <a:r>
              <a:rPr lang="en-US" dirty="0" smtClean="0"/>
              <a:t>helps </a:t>
            </a:r>
            <a:r>
              <a:rPr lang="en-US" dirty="0"/>
              <a:t>Kernel to interact with hardware's</a:t>
            </a:r>
            <a:r>
              <a:rPr lang="en-US" dirty="0" smtClean="0"/>
              <a:t>.</a:t>
            </a:r>
          </a:p>
          <a:p>
            <a:r>
              <a:rPr lang="en-US" dirty="0" smtClean="0"/>
              <a:t>hal.dll </a:t>
            </a:r>
            <a:r>
              <a:rPr lang="en-US" dirty="0"/>
              <a:t>file is machine specific.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Now </a:t>
            </a:r>
            <a:r>
              <a:rPr lang="en-US" dirty="0"/>
              <a:t>the drivers for hardware's are loaded from the </a:t>
            </a:r>
            <a:r>
              <a:rPr lang="en-US" dirty="0" smtClean="0"/>
              <a:t>file and </a:t>
            </a:r>
          </a:p>
          <a:p>
            <a:r>
              <a:rPr lang="en-US" dirty="0" smtClean="0"/>
              <a:t>the </a:t>
            </a:r>
            <a:r>
              <a:rPr lang="en-US" dirty="0"/>
              <a:t>Kernel is loaded to primary </a:t>
            </a:r>
            <a:r>
              <a:rPr lang="en-US" dirty="0" smtClean="0"/>
              <a:t>memory</a:t>
            </a:r>
          </a:p>
          <a:p>
            <a:endParaRPr lang="en-US" dirty="0" smtClean="0"/>
          </a:p>
          <a:p>
            <a:r>
              <a:rPr lang="en-US" dirty="0" smtClean="0"/>
              <a:t> Once the kernel is fully initialized it takes over control of the</a:t>
            </a:r>
          </a:p>
          <a:p>
            <a:r>
              <a:rPr lang="en-US" dirty="0" smtClean="0"/>
              <a:t> computer and continues initialization with the file-systems and </a:t>
            </a:r>
          </a:p>
          <a:p>
            <a:r>
              <a:rPr lang="en-US" dirty="0" smtClean="0"/>
              <a:t>Processes.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24637" y="1618281"/>
            <a:ext cx="1985963" cy="3917141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06330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73724" y="1242647"/>
            <a:ext cx="38158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accent2"/>
                </a:solidFill>
              </a:rPr>
              <a:t>Session </a:t>
            </a:r>
            <a:r>
              <a:rPr lang="en-US" sz="2400" dirty="0" smtClean="0">
                <a:solidFill>
                  <a:schemeClr val="accent2"/>
                </a:solidFill>
              </a:rPr>
              <a:t>initialization</a:t>
            </a:r>
            <a:endParaRPr lang="en-US" sz="2400" dirty="0" smtClean="0">
              <a:solidFill>
                <a:schemeClr val="accent2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3577" y="1887415"/>
            <a:ext cx="1433147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3577" y="1887415"/>
            <a:ext cx="14331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Loads the subsystem drivers</a:t>
            </a:r>
          </a:p>
        </p:txBody>
      </p:sp>
      <p:sp>
        <p:nvSpPr>
          <p:cNvPr id="6" name="Rectangle 5"/>
          <p:cNvSpPr/>
          <p:nvPr/>
        </p:nvSpPr>
        <p:spPr>
          <a:xfrm>
            <a:off x="483577" y="2899918"/>
            <a:ext cx="1433147" cy="6052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3577" y="2993703"/>
            <a:ext cx="1433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Create additional paging file</a:t>
            </a:r>
          </a:p>
        </p:txBody>
      </p:sp>
      <p:sp>
        <p:nvSpPr>
          <p:cNvPr id="8" name="Rectangle 7"/>
          <p:cNvSpPr/>
          <p:nvPr/>
        </p:nvSpPr>
        <p:spPr>
          <a:xfrm>
            <a:off x="483577" y="3856892"/>
            <a:ext cx="1433147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3577" y="3856892"/>
            <a:ext cx="14331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itialize the registry security</a:t>
            </a:r>
          </a:p>
        </p:txBody>
      </p:sp>
      <p:sp>
        <p:nvSpPr>
          <p:cNvPr id="10" name="Rectangle 9"/>
          <p:cNvSpPr/>
          <p:nvPr/>
        </p:nvSpPr>
        <p:spPr>
          <a:xfrm>
            <a:off x="483577" y="4724400"/>
            <a:ext cx="1433147" cy="53926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3577" y="4724400"/>
            <a:ext cx="14331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Creates system environment variab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866293" y="1887415"/>
            <a:ext cx="1723292" cy="8323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66293" y="1926902"/>
            <a:ext cx="17848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Loads kernel mode part of windows subsystem</a:t>
            </a:r>
          </a:p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(</a:t>
            </a:r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win32k.sys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363308" y="1926902"/>
            <a:ext cx="2022231" cy="97301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63308" y="1926902"/>
            <a:ext cx="20222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Initialize Client Server runtime subsystem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Csrss.ex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363308" y="3202559"/>
            <a:ext cx="2022231" cy="10763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63308" y="3255313"/>
            <a:ext cx="20222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Session 0 Initialization 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Wininit.ex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363308" y="4478216"/>
            <a:ext cx="2022231" cy="11371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363308" y="4560277"/>
            <a:ext cx="20222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Session 1 &amp; beyond initialization </a:t>
            </a:r>
          </a:p>
          <a:p>
            <a:r>
              <a:rPr lang="en-US" sz="1400" b="1" dirty="0" smtClean="0">
                <a:solidFill>
                  <a:schemeClr val="tx2">
                    <a:lumMod val="50000"/>
                  </a:schemeClr>
                </a:solidFill>
              </a:rPr>
              <a:t>Winlogon.exe</a:t>
            </a:r>
          </a:p>
        </p:txBody>
      </p:sp>
      <p:sp>
        <p:nvSpPr>
          <p:cNvPr id="20" name="Down Arrow 19"/>
          <p:cNvSpPr/>
          <p:nvPr/>
        </p:nvSpPr>
        <p:spPr>
          <a:xfrm>
            <a:off x="993531" y="2413410"/>
            <a:ext cx="206619" cy="486508"/>
          </a:xfrm>
          <a:prstGeom prst="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Down Arrow 20"/>
          <p:cNvSpPr/>
          <p:nvPr/>
        </p:nvSpPr>
        <p:spPr>
          <a:xfrm>
            <a:off x="1034195" y="4399084"/>
            <a:ext cx="125291" cy="325316"/>
          </a:xfrm>
          <a:prstGeom prst="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Down Arrow 21"/>
          <p:cNvSpPr/>
          <p:nvPr/>
        </p:nvSpPr>
        <p:spPr>
          <a:xfrm>
            <a:off x="1033096" y="3516923"/>
            <a:ext cx="125291" cy="351692"/>
          </a:xfrm>
          <a:prstGeom prst="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Down Arrow 22"/>
          <p:cNvSpPr/>
          <p:nvPr/>
        </p:nvSpPr>
        <p:spPr>
          <a:xfrm>
            <a:off x="6311778" y="4278923"/>
            <a:ext cx="125291" cy="281354"/>
          </a:xfrm>
          <a:prstGeom prst="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Down Arrow 23"/>
          <p:cNvSpPr/>
          <p:nvPr/>
        </p:nvSpPr>
        <p:spPr>
          <a:xfrm>
            <a:off x="6311778" y="2877243"/>
            <a:ext cx="125291" cy="325316"/>
          </a:xfrm>
          <a:prstGeom prst="down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6" name="Straight Connector 35"/>
          <p:cNvCxnSpPr>
            <a:stCxn id="10" idx="3"/>
          </p:cNvCxnSpPr>
          <p:nvPr/>
        </p:nvCxnSpPr>
        <p:spPr>
          <a:xfrm>
            <a:off x="1916724" y="4994031"/>
            <a:ext cx="237392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2154116" y="2303584"/>
            <a:ext cx="0" cy="2682427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2154116" y="2296235"/>
            <a:ext cx="641838" cy="7349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13" idx="3"/>
          </p:cNvCxnSpPr>
          <p:nvPr/>
        </p:nvCxnSpPr>
        <p:spPr>
          <a:xfrm flipV="1">
            <a:off x="4651132" y="2303584"/>
            <a:ext cx="597876" cy="100372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375" y="2993704"/>
            <a:ext cx="2739125" cy="2621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6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66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I</dc:creator>
  <cp:lastModifiedBy>SAI</cp:lastModifiedBy>
  <cp:revision>4</cp:revision>
  <dcterms:created xsi:type="dcterms:W3CDTF">2018-03-14T16:54:07Z</dcterms:created>
  <dcterms:modified xsi:type="dcterms:W3CDTF">2018-03-14T17:31:05Z</dcterms:modified>
</cp:coreProperties>
</file>